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89" r:id="rId2"/>
    <p:sldId id="290" r:id="rId3"/>
    <p:sldId id="282" r:id="rId4"/>
    <p:sldId id="292" r:id="rId5"/>
    <p:sldId id="293" r:id="rId6"/>
    <p:sldId id="280" r:id="rId7"/>
    <p:sldId id="272" r:id="rId8"/>
    <p:sldId id="276" r:id="rId9"/>
    <p:sldId id="269" r:id="rId10"/>
    <p:sldId id="264" r:id="rId11"/>
    <p:sldId id="291" r:id="rId12"/>
    <p:sldId id="257" r:id="rId13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7AA6"/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21.9.2022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21.9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Prajwaa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harjan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 Kuvateksti: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Guyanu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Maya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asnet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la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rismjö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som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land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annat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används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til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nepalesiska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kringlo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</a:t>
            </a:r>
            <a:endParaRPr lang="fi-FI" dirty="0"/>
          </a:p>
          <a:p>
            <a:endParaRPr lang="fi-FI"/>
          </a:p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471792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Upu Leppänen; </a:t>
            </a:r>
            <a:r>
              <a:rPr lang="fi-FI" dirty="0" err="1"/>
              <a:t>Tasaus_leipäpussin_ompelu_Upu</a:t>
            </a:r>
            <a:r>
              <a:rPr lang="fi-FI" dirty="0"/>
              <a:t> Leppänen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9594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55DA76B5-D7F4-A810-3D21-836E92107A21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60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21.9.2022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1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21.9.2022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21.9.2022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0ACAD9E6-F15E-0EF5-9B08-E4B58D6F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5" b="1104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6E51947E-8BDE-625E-08C0-11F13335CB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442446"/>
            <a:ext cx="12192000" cy="2494802"/>
          </a:xfrm>
          <a:prstGeom prst="rect">
            <a:avLst/>
          </a:prstGeom>
        </p:spPr>
      </p:pic>
      <p:sp>
        <p:nvSpPr>
          <p:cNvPr id="8" name="Otsikko 1">
            <a:extLst>
              <a:ext uri="{FF2B5EF4-FFF2-40B4-BE49-F238E27FC236}">
                <a16:creationId xmlns:a16="http://schemas.microsoft.com/office/drawing/2014/main" id="{8DB3D291-BE51-A28C-FE34-492CEA93AD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113" y="1785796"/>
            <a:ext cx="5354472" cy="768769"/>
          </a:xfrm>
        </p:spPr>
        <p:txBody>
          <a:bodyPr>
            <a:normAutofit fontScale="90000"/>
          </a:bodyPr>
          <a:lstStyle/>
          <a:p>
            <a:pPr algn="l"/>
            <a:r>
              <a:rPr lang="fi-FI" sz="4400" dirty="0">
                <a:solidFill>
                  <a:schemeClr val="bg1"/>
                </a:solidFill>
              </a:rPr>
              <a:t>Paluu juurille</a:t>
            </a:r>
            <a:br>
              <a:rPr lang="fi-FI" sz="4400" dirty="0">
                <a:solidFill>
                  <a:schemeClr val="bg1"/>
                </a:solidFill>
              </a:rPr>
            </a:br>
            <a:r>
              <a:rPr lang="fi-FI" sz="4400" dirty="0">
                <a:solidFill>
                  <a:schemeClr val="bg1"/>
                </a:solidFill>
              </a:rPr>
              <a:t>- toimintaideat</a:t>
            </a:r>
          </a:p>
        </p:txBody>
      </p:sp>
      <p:cxnSp>
        <p:nvCxnSpPr>
          <p:cNvPr id="15" name="Suora yhdysviiva 14">
            <a:extLst>
              <a:ext uri="{FF2B5EF4-FFF2-40B4-BE49-F238E27FC236}">
                <a16:creationId xmlns:a16="http://schemas.microsoft.com/office/drawing/2014/main" id="{827F2DCF-7A99-3050-1BE8-72E07399A4C4}"/>
              </a:ext>
            </a:extLst>
          </p:cNvPr>
          <p:cNvCxnSpPr/>
          <p:nvPr/>
        </p:nvCxnSpPr>
        <p:spPr>
          <a:xfrm>
            <a:off x="914761" y="2657590"/>
            <a:ext cx="28387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Kuva 16">
            <a:extLst>
              <a:ext uri="{FF2B5EF4-FFF2-40B4-BE49-F238E27FC236}">
                <a16:creationId xmlns:a16="http://schemas.microsoft.com/office/drawing/2014/main" id="{984D7A02-F60B-BF21-3D86-04A40F8776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7" t="19755" r="11330" b="22398"/>
          <a:stretch/>
        </p:blipFill>
        <p:spPr>
          <a:xfrm>
            <a:off x="831376" y="2985533"/>
            <a:ext cx="1540852" cy="391634"/>
          </a:xfrm>
          <a:prstGeom prst="rect">
            <a:avLst/>
          </a:prstGeom>
        </p:spPr>
      </p:pic>
      <p:sp>
        <p:nvSpPr>
          <p:cNvPr id="18" name="Otsikko 1">
            <a:extLst>
              <a:ext uri="{FF2B5EF4-FFF2-40B4-BE49-F238E27FC236}">
                <a16:creationId xmlns:a16="http://schemas.microsoft.com/office/drawing/2014/main" id="{0F31631C-37C2-C644-8570-0A9F988F0E36}"/>
              </a:ext>
            </a:extLst>
          </p:cNvPr>
          <p:cNvSpPr txBox="1">
            <a:spLocks/>
          </p:cNvSpPr>
          <p:nvPr/>
        </p:nvSpPr>
        <p:spPr>
          <a:xfrm>
            <a:off x="812325" y="3343982"/>
            <a:ext cx="1965278" cy="48054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2800" b="0" dirty="0">
                <a:solidFill>
                  <a:schemeClr val="bg1"/>
                </a:solidFill>
              </a:rPr>
              <a:t>Syksy 2022</a:t>
            </a:r>
          </a:p>
        </p:txBody>
      </p:sp>
    </p:spTree>
    <p:extLst>
      <p:ext uri="{BB962C8B-B14F-4D97-AF65-F5344CB8AC3E}">
        <p14:creationId xmlns:p14="http://schemas.microsoft.com/office/powerpoint/2010/main" val="222111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6973" y="1858282"/>
            <a:ext cx="7301552" cy="2713718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utta aineistoa tuotetaan erityisesti 12-14-vuotiaille, rippikoulun käyneille nuorille sekä aikuisille, jotka haluavat vaikuttaa ja tehdä hyvää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ksen teologia sisältää keskustelukysymyksiä, joiden avulla esim. raamattu- ja lähetyspiirit voivat käsitellä asiaa</a:t>
            </a:r>
            <a:endParaRPr lang="fi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neistot löytyvät nettisivuilta</a:t>
            </a:r>
            <a:b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omenlahetysseura.fi/tasaus/</a:t>
            </a:r>
            <a:endParaRPr lang="en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750627"/>
            <a:ext cx="9167315" cy="858163"/>
          </a:xfrm>
        </p:spPr>
        <p:txBody>
          <a:bodyPr>
            <a:normAutofit/>
          </a:bodyPr>
          <a:lstStyle/>
          <a:p>
            <a:r>
              <a:rPr lang="fi-FI" dirty="0"/>
              <a:t>Lisää aineistoa seurakunnille</a:t>
            </a:r>
          </a:p>
        </p:txBody>
      </p:sp>
    </p:spTree>
    <p:extLst>
      <p:ext uri="{BB962C8B-B14F-4D97-AF65-F5344CB8AC3E}">
        <p14:creationId xmlns:p14="http://schemas.microsoft.com/office/powerpoint/2010/main" val="10068552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9110" y="2208619"/>
            <a:ext cx="7301552" cy="2713718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lostettavat julisteet ja esitteet</a:t>
            </a: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ntalappupohjia myyjäisiin</a:t>
            </a: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s-bannerit ja kuvat somessa käytettäväksi</a:t>
            </a:r>
            <a:endParaRPr lang="fi-FI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1004" y="887105"/>
            <a:ext cx="9151146" cy="1090175"/>
          </a:xfrm>
        </p:spPr>
        <p:txBody>
          <a:bodyPr>
            <a:normAutofit/>
          </a:bodyPr>
          <a:lstStyle/>
          <a:p>
            <a:r>
              <a:rPr lang="fi-FI" dirty="0"/>
              <a:t>Kampanjamateriaalia</a:t>
            </a:r>
          </a:p>
        </p:txBody>
      </p:sp>
    </p:spTree>
    <p:extLst>
      <p:ext uri="{BB962C8B-B14F-4D97-AF65-F5344CB8AC3E}">
        <p14:creationId xmlns:p14="http://schemas.microsoft.com/office/powerpoint/2010/main" val="12542387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fi-FI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tta maailma olisi oikeudenmukaisempi, valoisampi ja lempeämpi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TASAUS,</a:t>
            </a:r>
          </a:p>
        </p:txBody>
      </p:sp>
    </p:spTree>
    <p:extLst>
      <p:ext uri="{BB962C8B-B14F-4D97-AF65-F5344CB8AC3E}">
        <p14:creationId xmlns:p14="http://schemas.microsoft.com/office/powerpoint/2010/main" val="1967443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74810" y="1690535"/>
            <a:ext cx="8267984" cy="3476929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sauksen teologiaa pohdintakysymysten kera</a:t>
            </a: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eriaalipaketti </a:t>
            </a: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sikolla Yhteinen leipämme</a:t>
            </a:r>
            <a:endParaRPr lang="fi-FI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sittely (ppt)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fi-FI" sz="20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vapankki</a:t>
            </a: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kouskortit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fi-FI" sz="20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tausvideo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fi-FI" sz="20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septit (ehtoollisleipä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f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ccacia</a:t>
            </a:r>
            <a:r>
              <a:rPr lang="fi-FI" sz="20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​, chapati, 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jera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n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)</a:t>
            </a: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imintaideat (yhdessä leipo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l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ipäpussien ompele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p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uu juurille: juurireseptit ja niiden jaka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)</a:t>
            </a:r>
          </a:p>
          <a:p>
            <a:endParaRPr lang="fi-FI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8900" y="846162"/>
            <a:ext cx="8986103" cy="729590"/>
          </a:xfrm>
        </p:spPr>
        <p:txBody>
          <a:bodyPr/>
          <a:lstStyle/>
          <a:p>
            <a:r>
              <a:rPr lang="fi-FI" dirty="0"/>
              <a:t>Aikuisille</a:t>
            </a:r>
          </a:p>
        </p:txBody>
      </p:sp>
    </p:spTree>
    <p:extLst>
      <p:ext uri="{BB962C8B-B14F-4D97-AF65-F5344CB8AC3E}">
        <p14:creationId xmlns:p14="http://schemas.microsoft.com/office/powerpoint/2010/main" val="1005112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6281" y="2235252"/>
            <a:ext cx="4860591" cy="2713718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i-FI" u="none" strike="noStrike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dessä leipominen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saus-j</a:t>
            </a:r>
            <a:r>
              <a:rPr lang="fi-FI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uri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saus-l</a:t>
            </a:r>
            <a:r>
              <a:rPr lang="fi-FI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ipäreseptit maailmalta</a:t>
            </a:r>
            <a:endParaRPr lang="fi-FI" b="0" i="0" dirty="0">
              <a:solidFill>
                <a:srgbClr val="0C0C0C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i-FI" u="none" strike="noStrike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ipäpussien ompele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1004" y="887105"/>
            <a:ext cx="9151146" cy="1090175"/>
          </a:xfrm>
        </p:spPr>
        <p:txBody>
          <a:bodyPr>
            <a:normAutofit/>
          </a:bodyPr>
          <a:lstStyle/>
          <a:p>
            <a:r>
              <a:rPr lang="fi-FI" dirty="0"/>
              <a:t>Toimintaideat</a:t>
            </a:r>
          </a:p>
        </p:txBody>
      </p:sp>
    </p:spTree>
    <p:extLst>
      <p:ext uri="{BB962C8B-B14F-4D97-AF65-F5344CB8AC3E}">
        <p14:creationId xmlns:p14="http://schemas.microsoft.com/office/powerpoint/2010/main" val="383511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4A98D3-3BF3-2D02-3A88-40405B4896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8525" y="863934"/>
            <a:ext cx="3233057" cy="1159836"/>
          </a:xfrm>
        </p:spPr>
        <p:txBody>
          <a:bodyPr>
            <a:normAutofit/>
          </a:bodyPr>
          <a:lstStyle/>
          <a:p>
            <a:pPr algn="l"/>
            <a:r>
              <a:rPr lang="fi-FI" dirty="0"/>
              <a:t>Leipäpussi:</a:t>
            </a:r>
            <a:br>
              <a:rPr lang="fi-FI" dirty="0"/>
            </a:br>
            <a:r>
              <a:rPr lang="fi-FI" sz="3200" dirty="0"/>
              <a:t>tee se itse!</a:t>
            </a:r>
            <a:endParaRPr lang="fi-FI" dirty="0"/>
          </a:p>
        </p:txBody>
      </p:sp>
      <p:sp>
        <p:nvSpPr>
          <p:cNvPr id="4" name="Subtitle 1">
            <a:extLst>
              <a:ext uri="{FF2B5EF4-FFF2-40B4-BE49-F238E27FC236}">
                <a16:creationId xmlns:a16="http://schemas.microsoft.com/office/drawing/2014/main" id="{B2349C6F-5D60-EF75-B41B-B8F2114CAD79}"/>
              </a:ext>
            </a:extLst>
          </p:cNvPr>
          <p:cNvSpPr txBox="1">
            <a:spLocks/>
          </p:cNvSpPr>
          <p:nvPr/>
        </p:nvSpPr>
        <p:spPr>
          <a:xfrm>
            <a:off x="1895045" y="2268084"/>
            <a:ext cx="3080019" cy="1792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u="sng" dirty="0">
                <a:latin typeface="Calibri" panose="020F0502020204030204" pitchFamily="34" charset="0"/>
                <a:cs typeface="Calibri" panose="020F0502020204030204" pitchFamily="34" charset="0"/>
              </a:rPr>
              <a:t>Tarvikkeet</a:t>
            </a: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algn="l"/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Pellavakangasta 50 x 60 cm</a:t>
            </a:r>
          </a:p>
          <a:p>
            <a:pPr algn="l"/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Nyöri tai nauha 70 cm</a:t>
            </a:r>
          </a:p>
          <a:p>
            <a:pPr algn="l"/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Neula, lankaa ja sakset</a:t>
            </a:r>
          </a:p>
        </p:txBody>
      </p:sp>
      <p:pic>
        <p:nvPicPr>
          <p:cNvPr id="8" name="Kuva 7" descr="Kuva, joka sisältää kohteen pala, sisä, sakset, leikkaa&#10;&#10;Kuvaus luotu automaattisesti">
            <a:extLst>
              <a:ext uri="{FF2B5EF4-FFF2-40B4-BE49-F238E27FC236}">
                <a16:creationId xmlns:a16="http://schemas.microsoft.com/office/drawing/2014/main" id="{E32D57B6-4444-EBC7-8645-81C0C55F33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550" y="580906"/>
            <a:ext cx="6204269" cy="462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005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97D6EF-F619-1C99-900C-B1788C7CE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4" y="726080"/>
            <a:ext cx="9051631" cy="554236"/>
          </a:xfrm>
        </p:spPr>
        <p:txBody>
          <a:bodyPr>
            <a:normAutofit fontScale="90000"/>
          </a:bodyPr>
          <a:lstStyle/>
          <a:p>
            <a:r>
              <a:rPr lang="fi-FI" dirty="0"/>
              <a:t>Leipäpussin ompelu</a:t>
            </a:r>
          </a:p>
        </p:txBody>
      </p:sp>
      <p:sp>
        <p:nvSpPr>
          <p:cNvPr id="4" name="Subtitle 1">
            <a:extLst>
              <a:ext uri="{FF2B5EF4-FFF2-40B4-BE49-F238E27FC236}">
                <a16:creationId xmlns:a16="http://schemas.microsoft.com/office/drawing/2014/main" id="{3D125318-8F81-3464-0999-6ED055ECCA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64537" y="1491449"/>
            <a:ext cx="8988162" cy="3498256"/>
          </a:xfrm>
        </p:spPr>
        <p:txBody>
          <a:bodyPr>
            <a:normAutofit/>
          </a:bodyPr>
          <a:lstStyle/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Asettele 50 x 60 cm kokoinen kangaspala nurjapuoli ylöspäin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Päärme: taita kankaan yläreuna 2 cm alas ja ompele reunan läheltä niin, että yläreunaan muodostuu tila nyörille. Jätä sivut auki nyörin pujotusta varten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Saumat: taita kangas pystysuunnassa kaksinkerroin ja ompele sivureunat yhteen niin, että päärme jää vielä auki reunoista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Käännä pussi oikea puoli ulospäin ja silitä saumat tasaiseksi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Leikkaa nyöri tai nauha puoliksi, kahdeksi 35 cm pätkäksi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Pujota yksi nyöri tai nauha neulan tai koukun avulla molempien yläpäärmeiden läpi niin, että nyöri palaa alkupisteeseen. Solmi nyörin päät yhteen. Toista toisella puolella. Pussi on valmis!</a:t>
            </a:r>
          </a:p>
        </p:txBody>
      </p:sp>
    </p:spTree>
    <p:extLst>
      <p:ext uri="{BB962C8B-B14F-4D97-AF65-F5344CB8AC3E}">
        <p14:creationId xmlns:p14="http://schemas.microsoft.com/office/powerpoint/2010/main" val="419556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1489790"/>
            <a:ext cx="7301552" cy="3041264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itäkää Tasausta esillä seurakunnan erilaisissa tilaisuuksissa</a:t>
            </a: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vittäkää tietoa Tasauksen materiaaleista ja käyttäkää niitä olemassa olevien ryhmien kokoontumisissa (lasten kerhot, nuortenillat, isoskoulutus, raamattupiirit, lähetyspiirit, aikuisten kokoontumiset, jumalanpalvelukset)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ittakaa seurakunnan nettisivuille Tasaus-banneri syyskuun ajaksi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ärjestäkää Tasaus-tempaus ja kertokaa siitä meille!</a:t>
            </a:r>
            <a:b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info@suomenlahetysseura.fi)</a:t>
            </a:r>
            <a:endParaRPr lang="fi-FI" b="0" i="0" dirty="0">
              <a:solidFill>
                <a:srgbClr val="0C0C0C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</a:pPr>
            <a:endParaRPr lang="fi-FI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559560"/>
            <a:ext cx="9099076" cy="762626"/>
          </a:xfrm>
        </p:spPr>
        <p:txBody>
          <a:bodyPr>
            <a:normAutofit/>
          </a:bodyPr>
          <a:lstStyle/>
          <a:p>
            <a:r>
              <a:rPr lang="fi-FI" dirty="0"/>
              <a:t>Tasaus-tapahtumat</a:t>
            </a:r>
          </a:p>
        </p:txBody>
      </p:sp>
    </p:spTree>
    <p:extLst>
      <p:ext uri="{BB962C8B-B14F-4D97-AF65-F5344CB8AC3E}">
        <p14:creationId xmlns:p14="http://schemas.microsoft.com/office/powerpoint/2010/main" val="485876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2188" y="490122"/>
            <a:ext cx="10707624" cy="2189070"/>
          </a:xfrm>
        </p:spPr>
        <p:txBody>
          <a:bodyPr>
            <a:noAutofit/>
          </a:bodyPr>
          <a:lstStyle/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ksi kertaa vuodessa, </a:t>
            </a: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vät- ja syyspäiväntasauksen aikaan, </a:t>
            </a: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 jakautuu tasaisesti maapallolla, </a:t>
            </a: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tta globaali hyvinvointi ei silloinkaan! </a:t>
            </a:r>
          </a:p>
          <a:p>
            <a:endParaRPr lang="fi-FI" sz="14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sz="24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fi-FI" sz="28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FA1F5D-E5F3-D818-645A-E98C7FB1BDE5}"/>
              </a:ext>
            </a:extLst>
          </p:cNvPr>
          <p:cNvSpPr txBox="1"/>
          <p:nvPr/>
        </p:nvSpPr>
        <p:spPr>
          <a:xfrm>
            <a:off x="2013545" y="2701481"/>
            <a:ext cx="9436267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i-FI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späiviin sijoittuva Tasaus-keräys kutsuu katsomaan maailmaa uudessa valossa ja toimimaan oikeudenmukaisemman maailman puolesta.</a:t>
            </a:r>
          </a:p>
          <a:p>
            <a:pPr algn="l"/>
            <a:endParaRPr lang="fi-FI" sz="22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fi-FI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ksen tuella varustetaan yhteisöjä ympäri maailmaa rakentamaan parempaa tulevaisuutta. Tule mukaan tasaamaan hyvinvointia niin, että siitä riittää jokaiselle. 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60200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orakulmio 7">
            <a:extLst>
              <a:ext uri="{FF2B5EF4-FFF2-40B4-BE49-F238E27FC236}">
                <a16:creationId xmlns:a16="http://schemas.microsoft.com/office/drawing/2014/main" id="{C218DB2D-CA7B-7658-49E8-33295447EB78}"/>
              </a:ext>
            </a:extLst>
          </p:cNvPr>
          <p:cNvSpPr/>
          <p:nvPr/>
        </p:nvSpPr>
        <p:spPr>
          <a:xfrm>
            <a:off x="8475260" y="0"/>
            <a:ext cx="3716741" cy="5841242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19618" y="1282247"/>
            <a:ext cx="6755642" cy="3702071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egalissa tytöt ja naiset opiskelevat ammattiin ja saavat kestävän toimeentulon sitä kautta. 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lumbiassa nuoret oppivat teatteri- ja taidetyöpajoissa konfliktien rauhanomaisista ratkaisumalleista ja ottamaan osaa yhteiskunnan rakentamiseen. 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raelissa ja palestiinalaisalueilla nuoret ottavat osaa johtajuuskoulutukseen ja opettajat oppivat taitoja, joilla edistetään rauhallista yhteiseloa ja suvaitsevuutta muita uskontoja kohtaan.</a:t>
            </a:r>
          </a:p>
          <a:p>
            <a:pPr algn="l">
              <a:lnSpc>
                <a:spcPct val="107000"/>
              </a:lnSpc>
              <a:spcAft>
                <a:spcPts val="800"/>
              </a:spcAft>
            </a:pPr>
            <a:endParaRPr lang="fi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7923" y="590209"/>
            <a:ext cx="6544424" cy="678712"/>
          </a:xfrm>
        </p:spPr>
        <p:txBody>
          <a:bodyPr>
            <a:normAutofit/>
          </a:bodyPr>
          <a:lstStyle/>
          <a:p>
            <a:r>
              <a:rPr lang="fi-FI" dirty="0"/>
              <a:t>Esimerkkejä kohteis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E7FA2C-7B31-C498-3F37-ABB9A83235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1403" y="167006"/>
            <a:ext cx="3417765" cy="2562544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116726B-5294-6F3B-B21E-2FF9E3E55D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5442" y="2413448"/>
            <a:ext cx="2470722" cy="3215631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9827740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AC79C7B-1D33-02DB-C466-12A28D662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6350" y="648075"/>
            <a:ext cx="3395754" cy="45258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B68194-844E-C1D4-F82D-7623A26771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9896" y="648075"/>
            <a:ext cx="4864734" cy="364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376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2</TotalTime>
  <Words>482</Words>
  <Application>Microsoft Office PowerPoint</Application>
  <PresentationFormat>Laajakuva</PresentationFormat>
  <Paragraphs>60</Paragraphs>
  <Slides>12</Slides>
  <Notes>2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2</vt:i4>
      </vt:variant>
    </vt:vector>
  </HeadingPairs>
  <TitlesOfParts>
    <vt:vector size="17" baseType="lpstr">
      <vt:lpstr>-apple-system</vt:lpstr>
      <vt:lpstr>Arial</vt:lpstr>
      <vt:lpstr>Calibri</vt:lpstr>
      <vt:lpstr>Office-teema</vt:lpstr>
      <vt:lpstr>think-cell Slide</vt:lpstr>
      <vt:lpstr>Paluu juurille - toimintaideat</vt:lpstr>
      <vt:lpstr>Aikuisille</vt:lpstr>
      <vt:lpstr>Toimintaideat</vt:lpstr>
      <vt:lpstr>Leipäpussi: tee se itse!</vt:lpstr>
      <vt:lpstr>Leipäpussin ompelu</vt:lpstr>
      <vt:lpstr>Tasaus-tapahtumat</vt:lpstr>
      <vt:lpstr>PowerPoint-esitys</vt:lpstr>
      <vt:lpstr>Esimerkkejä kohteista</vt:lpstr>
      <vt:lpstr>PowerPoint-esitys</vt:lpstr>
      <vt:lpstr>Lisää aineistoa seurakunnille</vt:lpstr>
      <vt:lpstr>Kampanjamateriaalia</vt:lpstr>
      <vt:lpstr>TASAUS,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Elo Kirsi</cp:lastModifiedBy>
  <cp:revision>74</cp:revision>
  <dcterms:created xsi:type="dcterms:W3CDTF">2021-03-29T12:00:14Z</dcterms:created>
  <dcterms:modified xsi:type="dcterms:W3CDTF">2022-09-21T06:32:12Z</dcterms:modified>
</cp:coreProperties>
</file>